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Layouts/slideLayout3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5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theme/theme7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75" r:id="rId3"/>
    <p:sldMasterId id="2147483677" r:id="rId4"/>
    <p:sldMasterId id="2147483679" r:id="rId5"/>
    <p:sldMasterId id="2147483681" r:id="rId6"/>
  </p:sldMasterIdLst>
  <p:notesMasterIdLst>
    <p:notesMasterId r:id="rId29"/>
  </p:notesMasterIdLst>
  <p:sldIdLst>
    <p:sldId id="261" r:id="rId7"/>
    <p:sldId id="256" r:id="rId8"/>
    <p:sldId id="327" r:id="rId9"/>
    <p:sldId id="323" r:id="rId10"/>
    <p:sldId id="324" r:id="rId11"/>
    <p:sldId id="328" r:id="rId12"/>
    <p:sldId id="329" r:id="rId13"/>
    <p:sldId id="330" r:id="rId14"/>
    <p:sldId id="335" r:id="rId15"/>
    <p:sldId id="334" r:id="rId16"/>
    <p:sldId id="338" r:id="rId17"/>
    <p:sldId id="339" r:id="rId18"/>
    <p:sldId id="336" r:id="rId19"/>
    <p:sldId id="337" r:id="rId20"/>
    <p:sldId id="290" r:id="rId21"/>
    <p:sldId id="331" r:id="rId22"/>
    <p:sldId id="332" r:id="rId23"/>
    <p:sldId id="333" r:id="rId24"/>
    <p:sldId id="303" r:id="rId25"/>
    <p:sldId id="302" r:id="rId26"/>
    <p:sldId id="280" r:id="rId27"/>
    <p:sldId id="27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1499C2-C762-44F6-ABD4-DAA0B44E2C7A}">
          <p14:sldIdLst>
            <p14:sldId id="261"/>
            <p14:sldId id="256"/>
            <p14:sldId id="327"/>
            <p14:sldId id="323"/>
            <p14:sldId id="324"/>
            <p14:sldId id="328"/>
            <p14:sldId id="329"/>
            <p14:sldId id="330"/>
            <p14:sldId id="335"/>
            <p14:sldId id="334"/>
            <p14:sldId id="338"/>
            <p14:sldId id="339"/>
            <p14:sldId id="336"/>
            <p14:sldId id="337"/>
            <p14:sldId id="290"/>
            <p14:sldId id="331"/>
            <p14:sldId id="332"/>
            <p14:sldId id="333"/>
            <p14:sldId id="303"/>
            <p14:sldId id="302"/>
            <p14:sldId id="280"/>
            <p14:sldId id="270"/>
          </p14:sldIdLst>
        </p14:section>
        <p14:section name="Untitled Section" id="{15DC4D6F-40DB-4FE4-9422-C81EBCAE8DCE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FF"/>
    <a:srgbClr val="0000FF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63" autoAdjust="0"/>
    <p:restoredTop sz="94607" autoAdjust="0"/>
  </p:normalViewPr>
  <p:slideViewPr>
    <p:cSldViewPr snapToGrid="0">
      <p:cViewPr varScale="1">
        <p:scale>
          <a:sx n="101" d="100"/>
          <a:sy n="101" d="100"/>
        </p:scale>
        <p:origin x="61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customXml" Target="../customXml/item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37" Type="http://schemas.openxmlformats.org/officeDocument/2006/relationships/customXml" Target="../customXml/item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customXml" Target="../customXml/item3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35" Type="http://schemas.openxmlformats.org/officeDocument/2006/relationships/customXml" Target="../customXml/item2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04F54-F98E-43EC-8676-41DB66235A40}" type="datetimeFigureOut">
              <a:rPr lang="en-US" smtClean="0"/>
              <a:t>2/2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4D3DB7-ABF3-401D-AF1F-9727A735F4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799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7231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66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76730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“may” is for isolation rooms not isolation. Confirmed covid must still isolat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0382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4" name="Google Shape;17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79861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D123054E-7245-4C0F-A7DE-0CAAD8076BF3}" type="datetime1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2/28/2024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9/21/2021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9468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9DEF6-7978-E042-A0A1-33F25AC493C0}" type="datetimeFigureOut">
              <a:rPr lang="en-US" smtClean="0"/>
              <a:t>2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2F4E8-48B0-FE42-82AF-298EC18CB6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155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8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7C2415-E118-FE4B-B334-792B5D547A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7698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0C1DDEC-9161-534A-B683-8EE7BBE132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8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C05780-7E01-1546-9AE3-978F0C8FF1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310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C49BDE-E7B2-274B-981F-3ECE8D7E15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8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D7006E-2A4A-3745-8EAC-D216C9C29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496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" Target="../theme/theme5.xml"/><Relationship Id="rId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C59EA794-B7BB-4416-B3BA-38E42D8F09AA}" type="datetime1">
              <a:rPr lang="en-US" smtClean="0"/>
              <a:t>2/28/2024</a:t>
            </a:fld>
            <a:endParaRPr dirty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9/21/2021</a:t>
            </a:r>
            <a:endParaRPr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6798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80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17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663258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5789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1490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62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425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6479AB-C233-411B-A5E3-7BC4966E8A5C}" type="datetimeFigureOut">
              <a:rPr lang="en-US" smtClean="0"/>
              <a:pPr/>
              <a:t>2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88CBA6-6A9E-4C95-8616-2E467D3051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10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Avenir Medium" charset="0"/>
          <a:ea typeface="Avenir Medium" charset="0"/>
          <a:cs typeface="Avenir Medium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pixabay.com/en/new-icon-new-icon-sign-1497910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surveymonkey.com/r/LNPV5QC" TargetMode="External"/><Relationship Id="rId5" Type="http://schemas.openxmlformats.org/officeDocument/2006/relationships/hyperlink" Target="https://www.surveymonkey.com/r/" TargetMode="External"/><Relationship Id="rId4" Type="http://schemas.openxmlformats.org/officeDocument/2006/relationships/image" Target="../media/image2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7" Type="http://schemas.openxmlformats.org/officeDocument/2006/relationships/hyperlink" Target="https://pixabay.com/en/new-icon-new-icon-sign-1497910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hyperlink" Target="https://www.surveymonkey.com/r/LNPV5QC" TargetMode="External"/><Relationship Id="rId4" Type="http://schemas.openxmlformats.org/officeDocument/2006/relationships/hyperlink" Target="https://www.surveymonkey.com/r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3"/>
          <p:cNvSpPr txBox="1">
            <a:spLocks noGrp="1"/>
          </p:cNvSpPr>
          <p:nvPr>
            <p:ph type="ctrTitle"/>
          </p:nvPr>
        </p:nvSpPr>
        <p:spPr>
          <a:xfrm>
            <a:off x="460130" y="517586"/>
            <a:ext cx="11271739" cy="1863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en-US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Job Corps Center Physician</a:t>
            </a:r>
            <a:br>
              <a:rPr lang="en-US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onthly Teleconference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89" name="Google Shape;89;p13"/>
          <p:cNvSpPr txBox="1">
            <a:spLocks noGrp="1"/>
          </p:cNvSpPr>
          <p:nvPr>
            <p:ph type="subTitle" idx="1"/>
          </p:nvPr>
        </p:nvSpPr>
        <p:spPr>
          <a:xfrm>
            <a:off x="1276709" y="2518913"/>
            <a:ext cx="8652295" cy="3933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</a:pPr>
            <a:r>
              <a:rPr lang="en-US" sz="2200" b="1" dirty="0"/>
              <a:t>John Kulig MD MPH      		Region 1 Boston &amp; Region 2 Philadelphia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</a:pPr>
            <a:r>
              <a:rPr lang="en-US" sz="2200" b="1" dirty="0"/>
              <a:t>Sara Mackenzie MD MPH	Region 6 San Francisco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</a:pPr>
            <a:r>
              <a:rPr lang="en-US" sz="2200" b="1" dirty="0"/>
              <a:t>Drew Alexander MD     		Region 4 Dallas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</a:pPr>
            <a:r>
              <a:rPr lang="en-US" sz="2200" b="1" dirty="0"/>
              <a:t>Gary Strokosch MD       		Region 3 Atlanta &amp; Region 5 Chicago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</a:pPr>
            <a:r>
              <a:rPr lang="en-US" sz="2200" b="1" dirty="0">
                <a:solidFill>
                  <a:srgbClr val="FF0000"/>
                </a:solidFill>
              </a:rPr>
              <a:t>HIPAA compliant messages       </a:t>
            </a:r>
            <a:r>
              <a:rPr lang="en-US" sz="2200" b="1" dirty="0"/>
              <a:t>use @jobcorps.org email address</a:t>
            </a:r>
          </a:p>
          <a:p>
            <a:pPr marL="0" indent="0" algn="l">
              <a:spcBef>
                <a:spcPts val="0"/>
              </a:spcBef>
              <a:buSzPts val="3700"/>
            </a:pPr>
            <a:endParaRPr lang="en-US" sz="2200" b="1" dirty="0">
              <a:solidFill>
                <a:srgbClr val="3333FF"/>
              </a:solidFill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b="1" dirty="0">
                <a:solidFill>
                  <a:srgbClr val="3333FF"/>
                </a:solidFill>
              </a:rPr>
              <a:t>	</a:t>
            </a:r>
            <a:endParaRPr lang="en-US" dirty="0">
              <a:solidFill>
                <a:srgbClr val="3333FF"/>
              </a:solidFill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sz="4400" b="1" dirty="0">
                <a:solidFill>
                  <a:srgbClr val="0000FF"/>
                </a:solidFill>
              </a:rPr>
              <a:t>       </a:t>
            </a:r>
            <a:r>
              <a:rPr lang="en-US" sz="4400" b="1" dirty="0"/>
              <a:t>Wednesday, October 25</a:t>
            </a:r>
            <a:r>
              <a:rPr lang="en-US" sz="4400" b="1" baseline="30000" dirty="0"/>
              <a:t>th</a:t>
            </a:r>
            <a:r>
              <a:rPr lang="en-US" sz="4400" b="1" dirty="0"/>
              <a:t>, 2023</a:t>
            </a:r>
            <a:endParaRPr lang="en-US" sz="4400" dirty="0">
              <a:solidFill>
                <a:schemeClr val="tx1"/>
              </a:solidFill>
            </a:endParaRPr>
          </a:p>
        </p:txBody>
      </p:sp>
      <p:pic>
        <p:nvPicPr>
          <p:cNvPr id="8" name="Picture 7" descr="A red and black sign with white text&#10;&#10;Description automatically generated">
            <a:extLst>
              <a:ext uri="{FF2B5EF4-FFF2-40B4-BE49-F238E27FC236}">
                <a16:creationId xmlns:a16="http://schemas.microsoft.com/office/drawing/2014/main" id="{0FAA9E98-B63D-CB61-1976-C67D4CB12C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9161253" y="3252373"/>
            <a:ext cx="2068158" cy="1224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886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4B52A-AD0A-7337-80AE-1CF3D4276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C00000"/>
                </a:solidFill>
                <a:effectLst/>
                <a:latin typeface="Google Sans"/>
              </a:rPr>
              <a:t>Psilocybin mushrooms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FDE2E-B09C-DBEB-AFCF-78A7B245FA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8675670" cy="4961431"/>
          </a:xfrm>
        </p:spPr>
        <p:txBody>
          <a:bodyPr/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treet names: “magic mushrooms,” “shrooms”</a:t>
            </a:r>
          </a:p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Hallucinogen similar to LSD and PCP as well as </a:t>
            </a:r>
          </a:p>
          <a:p>
            <a:pPr marL="50800" indent="0">
              <a:buNone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     mescaline in </a:t>
            </a:r>
            <a:r>
              <a:rPr lang="en-US" sz="2400">
                <a:latin typeface="Calibri" panose="020F0502020204030204" pitchFamily="34" charset="0"/>
                <a:cs typeface="Calibri" panose="020F0502020204030204" pitchFamily="34" charset="0"/>
              </a:rPr>
              <a:t>peyote cactus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Oral ingestion, brewed as a tea, added to foods (chocolate) to mask bitter flavor</a:t>
            </a:r>
          </a:p>
          <a:p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hysical effects, which appear within 20 minutes of ingestion and last approximately 6 hours, include nausea, vomiting, muscle weakness, drowsiness, and lack of coordination</a:t>
            </a:r>
          </a:p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ychological consequences of psilocybin use include hallucinations and an inability to discern fantasy from reality. Panic reactions and psychosis can occur.</a:t>
            </a:r>
            <a:endParaRPr lang="en-US" dirty="0"/>
          </a:p>
          <a:p>
            <a:pPr marL="50800" indent="0">
              <a:buNone/>
            </a:pPr>
            <a:r>
              <a:rPr lang="en-US" dirty="0"/>
              <a:t>								</a:t>
            </a:r>
            <a:r>
              <a:rPr lang="en-US" dirty="0">
                <a:solidFill>
                  <a:srgbClr val="0000FF"/>
                </a:solidFill>
              </a:rPr>
              <a:t>DEA</a:t>
            </a:r>
          </a:p>
          <a:p>
            <a:pPr marL="5080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5C39E2-D44A-AE8A-8D55-376E0522C7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6337" y="4719465"/>
            <a:ext cx="2505156" cy="19326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839F912-BC54-17A0-B692-2BBD4C582C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9220" y="2238750"/>
            <a:ext cx="1739389" cy="193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6993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F2123C0-CC1A-A3BD-3074-75AD470840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8366" y="138023"/>
            <a:ext cx="9395267" cy="62228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A42010-978F-8FA2-A624-E7367121646D}"/>
              </a:ext>
            </a:extLst>
          </p:cNvPr>
          <p:cNvSpPr txBox="1"/>
          <p:nvPr/>
        </p:nvSpPr>
        <p:spPr>
          <a:xfrm>
            <a:off x="7004649" y="6360860"/>
            <a:ext cx="45633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rgbClr val="0000FF"/>
                </a:solidFill>
              </a:rPr>
              <a:t>https://www.cdc.gov/nchs/nvss/deaths.htm</a:t>
            </a:r>
          </a:p>
        </p:txBody>
      </p:sp>
    </p:spTree>
    <p:extLst>
      <p:ext uri="{BB962C8B-B14F-4D97-AF65-F5344CB8AC3E}">
        <p14:creationId xmlns:p14="http://schemas.microsoft.com/office/powerpoint/2010/main" val="2599389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961EF-498B-51F3-A433-01EF5F063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365125"/>
            <a:ext cx="10998679" cy="1325563"/>
          </a:xfrm>
        </p:spPr>
        <p:txBody>
          <a:bodyPr/>
          <a:lstStyle/>
          <a:p>
            <a:r>
              <a:rPr lang="en-US" sz="3200" b="0" i="0" dirty="0">
                <a:solidFill>
                  <a:srgbClr val="C00000"/>
                </a:solidFill>
                <a:effectLst/>
                <a:latin typeface="Open Sans" panose="020B0606030504020204" pitchFamily="34" charset="0"/>
              </a:rPr>
              <a:t>Age-Adjusted Suicide Rates, by Method of Suicide  </a:t>
            </a:r>
            <a:br>
              <a:rPr lang="en-US" sz="3200" b="0" i="0" dirty="0">
                <a:solidFill>
                  <a:srgbClr val="C00000"/>
                </a:solidFill>
                <a:effectLst/>
                <a:latin typeface="Open Sans" panose="020B0606030504020204" pitchFamily="34" charset="0"/>
              </a:rPr>
            </a:br>
            <a:r>
              <a:rPr lang="en-US" sz="3200" b="0" i="0" dirty="0">
                <a:solidFill>
                  <a:srgbClr val="C00000"/>
                </a:solidFill>
                <a:effectLst/>
                <a:latin typeface="Open Sans" panose="020B0606030504020204" pitchFamily="34" charset="0"/>
              </a:rPr>
              <a:t>National Vital Statistics System, United States, 2001–2021</a:t>
            </a:r>
            <a:endParaRPr lang="en-US" sz="3200" dirty="0">
              <a:solidFill>
                <a:srgbClr val="C00000"/>
              </a:solidFill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CE0FB8F-6DA3-CECF-E580-791F729D16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82793" y="1655230"/>
            <a:ext cx="9700225" cy="4837645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14E7BB7-F7F2-DFEE-A74D-B712D82DB714}"/>
              </a:ext>
            </a:extLst>
          </p:cNvPr>
          <p:cNvSpPr txBox="1"/>
          <p:nvPr/>
        </p:nvSpPr>
        <p:spPr>
          <a:xfrm>
            <a:off x="6728604" y="6340415"/>
            <a:ext cx="4796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3333FF"/>
                </a:solidFill>
              </a:rPr>
              <a:t>http://dx.doi.org/10.15585/mmwr.mm7239a6</a:t>
            </a:r>
          </a:p>
        </p:txBody>
      </p:sp>
    </p:spTree>
    <p:extLst>
      <p:ext uri="{BB962C8B-B14F-4D97-AF65-F5344CB8AC3E}">
        <p14:creationId xmlns:p14="http://schemas.microsoft.com/office/powerpoint/2010/main" val="35563904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78F49-910F-1796-9CB5-0E088524B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06" y="365125"/>
            <a:ext cx="11110822" cy="1325563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Hepatitis A mortality in community outbrea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83BF9B-09BE-7D04-CEFE-08DDF98246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9472" y="1591922"/>
            <a:ext cx="11240540" cy="4223251"/>
          </a:xfrm>
        </p:spPr>
        <p:txBody>
          <a:bodyPr/>
          <a:lstStyle/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u="sng" dirty="0">
              <a:solidFill>
                <a:srgbClr val="0000FF"/>
              </a:solidFill>
            </a:endParaRPr>
          </a:p>
          <a:p>
            <a:pPr marL="50800" indent="0">
              <a:buNone/>
            </a:pPr>
            <a:endParaRPr lang="en-US" u="sng" dirty="0">
              <a:solidFill>
                <a:srgbClr val="0000F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697BB4-7A25-3017-1E9D-62CE9C618A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464" y="1591922"/>
            <a:ext cx="11089548" cy="422325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520B295-864C-D29C-3F15-63760A308897}"/>
              </a:ext>
            </a:extLst>
          </p:cNvPr>
          <p:cNvSpPr txBox="1"/>
          <p:nvPr/>
        </p:nvSpPr>
        <p:spPr>
          <a:xfrm>
            <a:off x="6901132" y="6064370"/>
            <a:ext cx="47013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u="sng" dirty="0">
                <a:solidFill>
                  <a:srgbClr val="0000FF"/>
                </a:solidFill>
              </a:rPr>
              <a:t>http://dx.doi.org/10.15585/mmwr.mm7242a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2571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FDD191C-CEA0-4892-FCCF-53FA7878D7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540" y="148328"/>
            <a:ext cx="11723297" cy="656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0868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6D16B-B960-C1F2-103F-532574EF6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1004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Syndrome of the Mon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33A12F-8538-DDEA-CA5B-6884C34C83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view of common findings on physical examination suggestive of a specific syndrome that may first be suspected in the Job Corps age population</a:t>
            </a:r>
          </a:p>
          <a:p>
            <a:r>
              <a:rPr lang="en-US" dirty="0"/>
              <a:t>Presentation of diagnostic criteria commonly used to support the diagnosis</a:t>
            </a:r>
          </a:p>
          <a:p>
            <a:r>
              <a:rPr lang="en-US" dirty="0"/>
              <a:t>Indications for syndrome-specific evaluation</a:t>
            </a:r>
          </a:p>
          <a:p>
            <a:r>
              <a:rPr lang="en-US" dirty="0"/>
              <a:t>Indications for subspecialty referral(s), if any</a:t>
            </a:r>
          </a:p>
          <a:p>
            <a:r>
              <a:rPr lang="en-US" dirty="0"/>
              <a:t>Implications for career choice, if any</a:t>
            </a:r>
          </a:p>
        </p:txBody>
      </p:sp>
      <p:pic>
        <p:nvPicPr>
          <p:cNvPr id="4" name="Picture 2" descr="New Name, New Look, New Content – This Blog's for You! - Blog: Think  Immigration">
            <a:extLst>
              <a:ext uri="{FF2B5EF4-FFF2-40B4-BE49-F238E27FC236}">
                <a16:creationId xmlns:a16="http://schemas.microsoft.com/office/drawing/2014/main" id="{A04465F7-36E3-2E0F-F35D-174DBF6EC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636" y="365125"/>
            <a:ext cx="2789327" cy="1394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53202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5F08E-B98B-F287-F743-C10535509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Turner syndro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FE8879-5281-B0F8-CFC9-5FE933FAD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85" y="1825624"/>
            <a:ext cx="10836215" cy="4583801"/>
          </a:xfrm>
        </p:spPr>
        <p:txBody>
          <a:bodyPr/>
          <a:lstStyle/>
          <a:p>
            <a:r>
              <a:rPr lang="en-US" sz="2000" b="0" i="0" dirty="0">
                <a:solidFill>
                  <a:srgbClr val="444444"/>
                </a:solidFill>
                <a:effectLst/>
                <a:latin typeface="Lucida Grande"/>
              </a:rPr>
              <a:t>Turner syndrome is a chromosomal condition that affects development in people who are assigned female at birth.  One in 2000 to one in 2500 live female births.</a:t>
            </a:r>
          </a:p>
          <a:p>
            <a:pPr algn="l" fontAlgn="base"/>
            <a:r>
              <a:rPr lang="en-US" sz="2000" b="0" i="0" dirty="0">
                <a:solidFill>
                  <a:srgbClr val="444444"/>
                </a:solidFill>
                <a:effectLst/>
                <a:latin typeface="Lucida Grande"/>
              </a:rPr>
              <a:t>About half of individuals with Turner syndrome have monosomy X which means each cell in the individual's body has only one copy of the X chromosome instead of the usual two. </a:t>
            </a:r>
          </a:p>
          <a:p>
            <a:pPr algn="l" fontAlgn="base"/>
            <a:r>
              <a:rPr lang="en-US" sz="2000" b="0" i="0" dirty="0">
                <a:solidFill>
                  <a:srgbClr val="444444"/>
                </a:solidFill>
                <a:effectLst/>
                <a:latin typeface="Lucida Grande"/>
              </a:rPr>
              <a:t>Turner syndrome can also occur if one of the X chromosomes is partially missing or rearranged rather than completely absent.  Mosaicism commonly occurs.</a:t>
            </a:r>
          </a:p>
          <a:p>
            <a:pPr algn="l" fontAlgn="base"/>
            <a:r>
              <a:rPr lang="en-US" sz="2000" b="0" i="0" dirty="0">
                <a:solidFill>
                  <a:srgbClr val="444444"/>
                </a:solidFill>
                <a:effectLst/>
                <a:latin typeface="Lucida Grande"/>
              </a:rPr>
              <a:t>The most common feature of Turner syndrome is short stature, which becomes evident by about age 5 years.</a:t>
            </a:r>
          </a:p>
          <a:p>
            <a:pPr algn="l" fontAlgn="base"/>
            <a:r>
              <a:rPr lang="en-US" sz="2000" b="0" i="0" dirty="0">
                <a:solidFill>
                  <a:srgbClr val="444444"/>
                </a:solidFill>
                <a:effectLst/>
                <a:latin typeface="Lucida Grande"/>
              </a:rPr>
              <a:t>Many affected individuals do not undergo puberty unless they receive hormone therapy, and most are unable to become pregnant naturally.</a:t>
            </a:r>
          </a:p>
          <a:p>
            <a:r>
              <a:rPr lang="en-US" sz="2000" b="0" i="0" dirty="0">
                <a:solidFill>
                  <a:srgbClr val="444444"/>
                </a:solidFill>
                <a:effectLst/>
                <a:latin typeface="Lucida Grande"/>
              </a:rPr>
              <a:t>Most people with Turner syndrome have normal intelligence but may have learning disabilities.</a:t>
            </a:r>
          </a:p>
          <a:p>
            <a:pPr marL="50800" indent="0">
              <a:buNone/>
            </a:pPr>
            <a:r>
              <a:rPr lang="en-US" sz="2000" dirty="0">
                <a:solidFill>
                  <a:srgbClr val="444444"/>
                </a:solidFill>
                <a:latin typeface="Lucida Grande"/>
              </a:rPr>
              <a:t>                                                                                                            </a:t>
            </a:r>
            <a:r>
              <a:rPr lang="en-US" sz="2000" i="1" dirty="0">
                <a:solidFill>
                  <a:srgbClr val="0000FF"/>
                </a:solidFill>
                <a:latin typeface="Lucida Grande"/>
              </a:rPr>
              <a:t>Medline Plus NLM NIH</a:t>
            </a:r>
            <a:endParaRPr lang="en-US" sz="2000" i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266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3FBAB1B-B933-093E-9FD7-358B0ACC68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104575"/>
            <a:ext cx="5706271" cy="4648849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5F41AFFD-B8FA-716C-97B6-6F93D4D06F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169" y="1664415"/>
            <a:ext cx="5422025" cy="4257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41B67D3-0A57-B7F0-5A30-28DF3EE851C4}"/>
              </a:ext>
            </a:extLst>
          </p:cNvPr>
          <p:cNvSpPr txBox="1"/>
          <p:nvPr/>
        </p:nvSpPr>
        <p:spPr>
          <a:xfrm flipH="1">
            <a:off x="1431984" y="1104576"/>
            <a:ext cx="3717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Normal female karyotyp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A2BE2C-C5EC-FF0B-3562-7C1B32FD9AC7}"/>
              </a:ext>
            </a:extLst>
          </p:cNvPr>
          <p:cNvSpPr txBox="1"/>
          <p:nvPr/>
        </p:nvSpPr>
        <p:spPr>
          <a:xfrm>
            <a:off x="2562045" y="6055743"/>
            <a:ext cx="1268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46,X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1FB6D9-B300-59C2-E6B3-8D7345615C74}"/>
              </a:ext>
            </a:extLst>
          </p:cNvPr>
          <p:cNvSpPr txBox="1"/>
          <p:nvPr/>
        </p:nvSpPr>
        <p:spPr>
          <a:xfrm>
            <a:off x="8195094" y="6055743"/>
            <a:ext cx="1354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</a:rPr>
              <a:t>45,XO</a:t>
            </a:r>
          </a:p>
        </p:txBody>
      </p:sp>
    </p:spTree>
    <p:extLst>
      <p:ext uri="{BB962C8B-B14F-4D97-AF65-F5344CB8AC3E}">
        <p14:creationId xmlns:p14="http://schemas.microsoft.com/office/powerpoint/2010/main" val="1486425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2893151-920D-26C8-E0AB-165F89AFD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756" y="0"/>
            <a:ext cx="6394220" cy="68712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29801F4-F673-D7E7-CF3C-6E1012EA40A3}"/>
              </a:ext>
            </a:extLst>
          </p:cNvPr>
          <p:cNvSpPr txBox="1"/>
          <p:nvPr/>
        </p:nvSpPr>
        <p:spPr>
          <a:xfrm>
            <a:off x="8583283" y="586596"/>
            <a:ext cx="17942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Mnemon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78D7CC-67F0-EEB0-29EB-7E4C1F17692C}"/>
              </a:ext>
            </a:extLst>
          </p:cNvPr>
          <p:cNvSpPr txBox="1"/>
          <p:nvPr/>
        </p:nvSpPr>
        <p:spPr>
          <a:xfrm>
            <a:off x="7388524" y="1613140"/>
            <a:ext cx="4041475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    cardiac anomalies</a:t>
            </a:r>
          </a:p>
          <a:p>
            <a:endParaRPr lang="en-US" sz="2400" b="1" dirty="0"/>
          </a:p>
          <a:p>
            <a:r>
              <a:rPr lang="en-US" sz="2400" b="1" dirty="0"/>
              <a:t>L     lymphedema</a:t>
            </a:r>
          </a:p>
          <a:p>
            <a:endParaRPr lang="en-US" sz="2400" b="1" dirty="0"/>
          </a:p>
          <a:p>
            <a:r>
              <a:rPr lang="en-US" sz="2400" b="1" dirty="0"/>
              <a:t>O    ovarian insufficiency</a:t>
            </a:r>
          </a:p>
          <a:p>
            <a:endParaRPr lang="en-US" sz="2400" b="1" dirty="0"/>
          </a:p>
          <a:p>
            <a:r>
              <a:rPr lang="en-US" sz="2400" b="1" dirty="0"/>
              <a:t>W    webbed neck</a:t>
            </a:r>
          </a:p>
          <a:p>
            <a:endParaRPr lang="en-US" sz="2400" b="1" dirty="0"/>
          </a:p>
          <a:p>
            <a:r>
              <a:rPr lang="en-US" sz="2400" b="1" dirty="0"/>
              <a:t>N     nipples widely spaced</a:t>
            </a:r>
          </a:p>
          <a:p>
            <a:endParaRPr lang="en-US" sz="2400" b="1" dirty="0"/>
          </a:p>
          <a:p>
            <a:r>
              <a:rPr lang="en-US" sz="2400" b="1" dirty="0"/>
              <a:t>S     short stature</a:t>
            </a:r>
          </a:p>
        </p:txBody>
      </p:sp>
    </p:spTree>
    <p:extLst>
      <p:ext uri="{BB962C8B-B14F-4D97-AF65-F5344CB8AC3E}">
        <p14:creationId xmlns:p14="http://schemas.microsoft.com/office/powerpoint/2010/main" val="8954621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A9761-D602-D2B6-C339-083E59CC5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1216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Diagnostic 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C5E9E-4371-E831-1C20-F5E627B07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86780"/>
            <a:ext cx="10515600" cy="4900284"/>
          </a:xfrm>
        </p:spPr>
        <p:txBody>
          <a:bodyPr/>
          <a:lstStyle/>
          <a:p>
            <a:r>
              <a:rPr lang="en-US" dirty="0"/>
              <a:t>Karyotyping is definitive but mosaicism is common</a:t>
            </a:r>
          </a:p>
          <a:p>
            <a:r>
              <a:rPr lang="en-US" dirty="0"/>
              <a:t>Elevated gonadotropins – follicle stimulating hormone (FSH), luteinizing hormone (LH)</a:t>
            </a:r>
          </a:p>
          <a:p>
            <a:r>
              <a:rPr lang="en-US" dirty="0"/>
              <a:t>Low estradiol levels</a:t>
            </a:r>
          </a:p>
          <a:p>
            <a:r>
              <a:rPr lang="en-US" dirty="0"/>
              <a:t>Presence of </a:t>
            </a: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anti-Mullerian hormone (AMH)</a:t>
            </a:r>
          </a:p>
          <a:p>
            <a:r>
              <a:rPr lang="en-US" dirty="0">
                <a:solidFill>
                  <a:srgbClr val="202124"/>
                </a:solidFill>
                <a:latin typeface="Google Sans"/>
              </a:rPr>
              <a:t>Renal ultrasonography</a:t>
            </a:r>
          </a:p>
          <a:p>
            <a:r>
              <a:rPr lang="en-US" dirty="0">
                <a:solidFill>
                  <a:srgbClr val="202124"/>
                </a:solidFill>
                <a:latin typeface="Google Sans"/>
              </a:rPr>
              <a:t>Echocardiography/cardiac MRI</a:t>
            </a:r>
            <a:endParaRPr lang="en-US" dirty="0"/>
          </a:p>
          <a:p>
            <a:r>
              <a:rPr lang="en-US" dirty="0"/>
              <a:t>Monitor for hypertension, diabetes, hypothyroidism, celiac disease,</a:t>
            </a:r>
          </a:p>
          <a:p>
            <a:pPr marL="50800" indent="0">
              <a:buNone/>
            </a:pPr>
            <a:r>
              <a:rPr lang="en-US" dirty="0"/>
              <a:t>     liver disease, hearing loss, bone mineral density</a:t>
            </a:r>
          </a:p>
        </p:txBody>
      </p:sp>
    </p:spTree>
    <p:extLst>
      <p:ext uri="{BB962C8B-B14F-4D97-AF65-F5344CB8AC3E}">
        <p14:creationId xmlns:p14="http://schemas.microsoft.com/office/powerpoint/2010/main" val="3141135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19595" y="2380923"/>
            <a:ext cx="6425012" cy="1855559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Health and Wellness Update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October 24, 2023</a:t>
            </a:r>
          </a:p>
        </p:txBody>
      </p:sp>
    </p:spTree>
    <p:extLst>
      <p:ext uri="{BB962C8B-B14F-4D97-AF65-F5344CB8AC3E}">
        <p14:creationId xmlns:p14="http://schemas.microsoft.com/office/powerpoint/2010/main" val="10470049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91469-8DEE-F53B-1ED6-AD6C2EF5D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Man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7E8773-5D44-FA9F-9E2E-D10562904A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92370"/>
            <a:ext cx="10515600" cy="4917055"/>
          </a:xfrm>
        </p:spPr>
        <p:txBody>
          <a:bodyPr/>
          <a:lstStyle/>
          <a:p>
            <a:r>
              <a:rPr lang="en-US" dirty="0"/>
              <a:t>Growth hormone therapy – may gain 2 inches</a:t>
            </a:r>
          </a:p>
          <a:p>
            <a:r>
              <a:rPr lang="en-US" dirty="0"/>
              <a:t>Induction of puberty with hormone replacement therapy</a:t>
            </a:r>
          </a:p>
          <a:p>
            <a:r>
              <a:rPr lang="en-US" dirty="0" err="1"/>
              <a:t>Susbspecialist</a:t>
            </a:r>
            <a:r>
              <a:rPr lang="en-US" dirty="0"/>
              <a:t> consultation and monitoring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endocrinologis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cardiologis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gynecologis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obstetrician - IVF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geneticis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psychologis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Life expectancy with Turner Syndrome is about 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13 years shorter than that of the general popul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3423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F97B6-D016-4ADF-8C80-E3064A140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Open For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7713D7-D4A4-4D8E-BC25-240EEA3C7F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66491"/>
            <a:ext cx="10515600" cy="4209690"/>
          </a:xfrm>
        </p:spPr>
        <p:txBody>
          <a:bodyPr/>
          <a:lstStyle/>
          <a:p>
            <a:pPr marL="11430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DFE7E3-72FC-4992-A8AB-1C48128067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3625" y="1599351"/>
            <a:ext cx="4231019" cy="19201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565FC6F-562D-4D2B-B587-E14F2EF8D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0142" y="3698496"/>
            <a:ext cx="2459765" cy="18448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8865106-F037-43B7-88A3-4CAEC9476E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1599351"/>
            <a:ext cx="5147105" cy="3943969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B06373DF-2DEF-4D08-A012-91252A8E44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2192000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E1A2A39F-35C6-4A2F-81AD-9474589D8F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3120" y="5946486"/>
            <a:ext cx="5135068" cy="40011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urveymonkey.com/r/</a:t>
            </a:r>
            <a:r>
              <a:rPr lang="en-US" sz="2000" b="1" i="0" dirty="0">
                <a:solidFill>
                  <a:srgbClr val="C00000"/>
                </a:solidFill>
                <a:effectLst/>
                <a:latin typeface="Aptos" panose="020B00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NPV5QC</a:t>
            </a:r>
            <a:endParaRPr kumimoji="0" lang="en-US" altLang="en-US" sz="20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8001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27"/>
          <p:cNvSpPr txBox="1">
            <a:spLocks noGrp="1"/>
          </p:cNvSpPr>
          <p:nvPr>
            <p:ph type="ctrTitle"/>
          </p:nvPr>
        </p:nvSpPr>
        <p:spPr>
          <a:xfrm>
            <a:off x="388189" y="465826"/>
            <a:ext cx="11499011" cy="2872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/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Job Corps Center Physician</a:t>
            </a: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</a:t>
            </a:r>
            <a:r>
              <a:rPr lang="en-US" sz="4800" b="1" dirty="0">
                <a:solidFill>
                  <a:srgbClr val="C00000"/>
                </a:solidFill>
              </a:rPr>
              <a:t>onthly Teleconference</a:t>
            </a:r>
            <a:br>
              <a:rPr lang="en-US" sz="2400" b="1" dirty="0">
                <a:solidFill>
                  <a:srgbClr val="C00000"/>
                </a:solidFill>
              </a:rPr>
            </a:br>
            <a:br>
              <a:rPr lang="en-US" sz="2400" b="1" dirty="0">
                <a:solidFill>
                  <a:srgbClr val="C00000"/>
                </a:solidFill>
              </a:rPr>
            </a:b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ext call: Wednesday, November 29</a:t>
            </a:r>
            <a:r>
              <a:rPr lang="en-US" sz="4000" b="1" baseline="300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, 2023</a:t>
            </a:r>
            <a:b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o December call</a:t>
            </a:r>
            <a:endParaRPr dirty="0">
              <a:solidFill>
                <a:srgbClr val="00B050"/>
              </a:solidFill>
            </a:endParaRPr>
          </a:p>
        </p:txBody>
      </p:sp>
      <p:sp>
        <p:nvSpPr>
          <p:cNvPr id="177" name="Google Shape;177;p27"/>
          <p:cNvSpPr txBox="1">
            <a:spLocks noGrp="1"/>
          </p:cNvSpPr>
          <p:nvPr>
            <p:ph type="subTitle" idx="1"/>
          </p:nvPr>
        </p:nvSpPr>
        <p:spPr>
          <a:xfrm>
            <a:off x="415095" y="5830748"/>
            <a:ext cx="11369615" cy="794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b="1" dirty="0">
                <a:solidFill>
                  <a:srgbClr val="C00000"/>
                </a:solidFill>
              </a:rPr>
              <a:t>	</a:t>
            </a:r>
            <a:endParaRPr lang="en-US" b="1" dirty="0">
              <a:solidFill>
                <a:schemeClr val="tx1"/>
              </a:solidFill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b="1" dirty="0">
                <a:solidFill>
                  <a:srgbClr val="0000FF"/>
                </a:solidFill>
              </a:rPr>
              <a:t>	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952146-17B2-4F52-9C99-D67B6BA2B9B1}"/>
              </a:ext>
            </a:extLst>
          </p:cNvPr>
          <p:cNvSpPr txBox="1"/>
          <p:nvPr/>
        </p:nvSpPr>
        <p:spPr>
          <a:xfrm>
            <a:off x="2457449" y="3517959"/>
            <a:ext cx="8834529" cy="2343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  <a:tabLst>
                <a:tab pos="3429000" algn="l"/>
              </a:tabLst>
            </a:pPr>
            <a:r>
              <a:rPr lang="en-US" sz="2000" b="1" dirty="0"/>
              <a:t>John Kulig MD MPH	Region 1 Boston &amp; Region 2 Philadelphia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  <a:tabLst>
                <a:tab pos="3429000" algn="l"/>
              </a:tabLst>
            </a:pPr>
            <a:r>
              <a:rPr lang="en-US" sz="2000" b="1" dirty="0"/>
              <a:t>Sara Mackenzie MD MPH	Region 6 San Francisco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  <a:tabLst>
                <a:tab pos="3429000" algn="l"/>
              </a:tabLst>
            </a:pPr>
            <a:r>
              <a:rPr lang="en-US" sz="2000" b="1" dirty="0"/>
              <a:t>Drew Alexander MD	Region 4 Dallas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  <a:tabLst>
                <a:tab pos="3429000" algn="l"/>
              </a:tabLst>
            </a:pPr>
            <a:r>
              <a:rPr lang="en-US" sz="2000" b="1" dirty="0"/>
              <a:t>Gary Strokosch MD	Region 3 Atlanta &amp; Region 5 Chicago</a:t>
            </a:r>
          </a:p>
          <a:p>
            <a:pPr marL="0" indent="0" algn="l">
              <a:lnSpc>
                <a:spcPct val="150000"/>
              </a:lnSpc>
              <a:spcBef>
                <a:spcPts val="0"/>
              </a:spcBef>
              <a:buSzPts val="3700"/>
              <a:tabLst>
                <a:tab pos="3429000" algn="l"/>
              </a:tabLst>
            </a:pPr>
            <a:r>
              <a:rPr lang="en-US" sz="2000" b="1" dirty="0">
                <a:solidFill>
                  <a:srgbClr val="FF0000"/>
                </a:solidFill>
              </a:rPr>
              <a:t>HIPAA compliant messages	</a:t>
            </a:r>
            <a:r>
              <a:rPr lang="en-US" sz="2000" b="1" dirty="0"/>
              <a:t>use @jobcorps.org email addr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6CBD06-88D1-44E9-ABA9-DA54FBBB33E1}"/>
              </a:ext>
            </a:extLst>
          </p:cNvPr>
          <p:cNvSpPr txBox="1"/>
          <p:nvPr/>
        </p:nvSpPr>
        <p:spPr>
          <a:xfrm>
            <a:off x="3623094" y="6072996"/>
            <a:ext cx="53138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urveymonkey.com/r</a:t>
            </a:r>
            <a:r>
              <a:rPr kumimoji="0" lang="en-US" altLang="en-US" sz="2000" b="1" i="0" u="sng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2000" b="1" i="0" dirty="0">
                <a:solidFill>
                  <a:srgbClr val="C00000"/>
                </a:solidFill>
                <a:effectLst/>
                <a:latin typeface="Aptos" panose="020B00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NPV5QC</a:t>
            </a:r>
            <a:endParaRPr kumimoji="0" lang="en-US" altLang="en-US" sz="2000" b="1" i="0" u="sng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A red and black sign with white text&#10;&#10;Description automatically generated">
            <a:extLst>
              <a:ext uri="{FF2B5EF4-FFF2-40B4-BE49-F238E27FC236}">
                <a16:creationId xmlns:a16="http://schemas.microsoft.com/office/drawing/2014/main" id="{C5FEB048-8DD1-4235-5F29-2BEFF5678A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459049" y="3881528"/>
            <a:ext cx="2083692" cy="123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293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8B7F6-10FB-9A8D-0F82-15E400262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gratulations and 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DFE98E-6726-C9D3-100B-8D500EB706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ice job to centers for implementation of the updated COVID-19 reporting requirements!</a:t>
            </a:r>
          </a:p>
          <a:p>
            <a:r>
              <a:rPr lang="en-US" dirty="0"/>
              <a:t>Received one SIR from center with &gt;10% of students with confirmed COVID-19/Total OBS in past 7 days</a:t>
            </a:r>
          </a:p>
          <a:p>
            <a:r>
              <a:rPr lang="en-US" dirty="0"/>
              <a:t>Received totals for COVID-19 cases in staff and students and CCE counts for the past 7 days from nearly all centers</a:t>
            </a:r>
          </a:p>
        </p:txBody>
      </p:sp>
    </p:spTree>
    <p:extLst>
      <p:ext uri="{BB962C8B-B14F-4D97-AF65-F5344CB8AC3E}">
        <p14:creationId xmlns:p14="http://schemas.microsoft.com/office/powerpoint/2010/main" val="392928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0D70A-F08B-5C20-3897-F84C690E5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PIN 22-17 Updates (Errata Sheet) - Clar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95A680-8752-9A85-777F-25BF237A5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544" y="2286000"/>
            <a:ext cx="11563926" cy="318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810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0D70A-F08B-5C20-3897-F84C690E5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Frequently asked question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F33D51-E86E-25A4-CEC0-E177E96C367D}"/>
              </a:ext>
            </a:extLst>
          </p:cNvPr>
          <p:cNvSpPr txBox="1"/>
          <p:nvPr/>
        </p:nvSpPr>
        <p:spPr>
          <a:xfrm>
            <a:off x="1941400" y="1857793"/>
            <a:ext cx="815510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s the COVID-19 Checklist still required? </a:t>
            </a:r>
          </a:p>
          <a:p>
            <a:pPr algn="ctr"/>
            <a:r>
              <a:rPr lang="en-US" sz="2800" dirty="0">
                <a:solidFill>
                  <a:prstClr val="white"/>
                </a:solidFill>
                <a:latin typeface="Calibri"/>
              </a:rPr>
              <a:t>N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Must centers still report COVID-19 Abbott ID Now Test results to MCI?</a:t>
            </a:r>
          </a:p>
          <a:p>
            <a:pPr algn="ctr"/>
            <a:r>
              <a:rPr lang="en-US" sz="2800" dirty="0">
                <a:solidFill>
                  <a:prstClr val="white"/>
                </a:solidFill>
                <a:latin typeface="Calibri"/>
              </a:rPr>
              <a:t>NO</a:t>
            </a:r>
          </a:p>
          <a:p>
            <a:pPr marL="341313" lvl="1" indent="-341313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However, center MUST know whether COVID-19 has been added to the state notifiable diseases list and the center MUST report to public health if COVID-19 is a notifiable disease in the state!</a:t>
            </a:r>
          </a:p>
        </p:txBody>
      </p:sp>
    </p:spTree>
    <p:extLst>
      <p:ext uri="{BB962C8B-B14F-4D97-AF65-F5344CB8AC3E}">
        <p14:creationId xmlns:p14="http://schemas.microsoft.com/office/powerpoint/2010/main" val="4099130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0D70A-F08B-5C20-3897-F84C690E5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COVID-19 Antigen test supplies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F33D51-E86E-25A4-CEC0-E177E96C367D}"/>
              </a:ext>
            </a:extLst>
          </p:cNvPr>
          <p:cNvSpPr txBox="1"/>
          <p:nvPr/>
        </p:nvSpPr>
        <p:spPr>
          <a:xfrm>
            <a:off x="2221660" y="1805044"/>
            <a:ext cx="784767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MCI will be distributing C19 Antigen Test Ki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Job Aid will be updated with the following:</a:t>
            </a:r>
          </a:p>
          <a:p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r>
              <a:rPr lang="en-US" sz="2800" dirty="0">
                <a:solidFill>
                  <a:prstClr val="white"/>
                </a:solidFill>
                <a:latin typeface="Calibri"/>
              </a:rPr>
              <a:t>“A CCE with confirmed COVID-19 within the past 90 days should be managed as follow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30 days or less: if symptoms, test with an antigen test. If no symptoms, no action require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31-90 days: use an antigen test instead of the Abbott ID Now test at day 0 and day 6”</a:t>
            </a:r>
          </a:p>
        </p:txBody>
      </p:sp>
    </p:spTree>
    <p:extLst>
      <p:ext uri="{BB962C8B-B14F-4D97-AF65-F5344CB8AC3E}">
        <p14:creationId xmlns:p14="http://schemas.microsoft.com/office/powerpoint/2010/main" val="12477221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18C43E9-166C-EB25-409D-9E2B8C7987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122" y="198408"/>
            <a:ext cx="11787210" cy="6530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104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7D0843-C85B-1EB1-9100-B9BD50051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Influenza: Key Po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C1122-93E9-9B0B-344A-3216EDA72D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532043"/>
          </a:xfrm>
        </p:spPr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easonal influenza activity remains low nationally, but there are slight increases in some parts of the country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he number of flu hospital admissions remains low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uring week 41, of the 159 viruses reported by public health laboratories, 124 (78.0%) were influenza A, and 35 (22.0%) were influenza B. Of the 99 influenza A viruses subtyped during week 41,93 (93.9%) were influenza A(H1N1), and 6 (6.1%) were A(H3N2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CDC recommends that everyone ages 6 months and older get an annual flu vaccine, ideally by the end of Octobe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62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DFAA942-316D-C7C0-77EE-D5961FC737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32813"/>
            <a:ext cx="12192000" cy="439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362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4.xml><?xml version="1.0" encoding="utf-8"?>
<a:theme xmlns:a="http://schemas.openxmlformats.org/drawingml/2006/main" name="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5.xml><?xml version="1.0" encoding="utf-8"?>
<a:theme xmlns:a="http://schemas.openxmlformats.org/drawingml/2006/main" name="7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1BBDD672BAB240AE25E8C18386348A" ma:contentTypeVersion="5" ma:contentTypeDescription="Create a new document." ma:contentTypeScope="" ma:versionID="edb88f5c1ceec33db4cb0b7c993a8ce5">
  <xsd:schema xmlns:xsd="http://www.w3.org/2001/XMLSchema" xmlns:xs="http://www.w3.org/2001/XMLSchema" xmlns:p="http://schemas.microsoft.com/office/2006/metadata/properties" xmlns:ns1="http://schemas.microsoft.com/sharepoint/v3" xmlns:ns2="b22f8f74-215c-4154-9939-bd29e4e8980e" targetNamespace="http://schemas.microsoft.com/office/2006/metadata/properties" ma:root="true" ma:fieldsID="5b851cb5bcdff340b09bfb219dc0c9f3" ns1:_="" ns2:_="">
    <xsd:import namespace="http://schemas.microsoft.com/sharepoint/v3"/>
    <xsd:import namespace="b22f8f74-215c-4154-9939-bd29e4e8980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2f8f74-215c-4154-9939-bd29e4e8980e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StartDate xmlns="http://schemas.microsoft.com/sharepoint/v3" xsi:nil="true"/>
    <_dlc_DocId xmlns="b22f8f74-215c-4154-9939-bd29e4e8980e">XRUYQT3274NZ-681238054-2066</_dlc_DocId>
    <_dlc_DocIdUrl xmlns="b22f8f74-215c-4154-9939-bd29e4e8980e">
      <Url>https://supportservices.jobcorps.gov/health/_layouts/15/DocIdRedir.aspx?ID=XRUYQT3274NZ-681238054-2066</Url>
      <Description>XRUYQT3274NZ-681238054-2066</Description>
    </_dlc_DocIdUrl>
    <PublishingExpiration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7013092-7A1C-4C09-A8DE-97A4E3C5432E}"/>
</file>

<file path=customXml/itemProps2.xml><?xml version="1.0" encoding="utf-8"?>
<ds:datastoreItem xmlns:ds="http://schemas.openxmlformats.org/officeDocument/2006/customXml" ds:itemID="{EDA37F8D-8B3C-4D84-BDD2-863763E6386A}"/>
</file>

<file path=customXml/itemProps3.xml><?xml version="1.0" encoding="utf-8"?>
<ds:datastoreItem xmlns:ds="http://schemas.openxmlformats.org/officeDocument/2006/customXml" ds:itemID="{AD7138BD-EEDE-44F1-847B-93AD38C7DC06}"/>
</file>

<file path=customXml/itemProps4.xml><?xml version="1.0" encoding="utf-8"?>
<ds:datastoreItem xmlns:ds="http://schemas.openxmlformats.org/officeDocument/2006/customXml" ds:itemID="{42B0C3CF-D8BF-4F9D-91C2-5BC7E761AEF6}"/>
</file>

<file path=docProps/app.xml><?xml version="1.0" encoding="utf-8"?>
<Properties xmlns="http://schemas.openxmlformats.org/officeDocument/2006/extended-properties" xmlns:vt="http://schemas.openxmlformats.org/officeDocument/2006/docPropsVTypes">
  <TotalTime>26793</TotalTime>
  <Words>1037</Words>
  <Application>Microsoft Office PowerPoint</Application>
  <PresentationFormat>Widescreen</PresentationFormat>
  <Paragraphs>121</Paragraphs>
  <Slides>2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0" baseType="lpstr">
      <vt:lpstr>Aptos</vt:lpstr>
      <vt:lpstr>Arial</vt:lpstr>
      <vt:lpstr>Avenir Book</vt:lpstr>
      <vt:lpstr>Avenir Medium</vt:lpstr>
      <vt:lpstr>Calibri</vt:lpstr>
      <vt:lpstr>Courier New</vt:lpstr>
      <vt:lpstr>Google Sans</vt:lpstr>
      <vt:lpstr>Lucida Grande</vt:lpstr>
      <vt:lpstr>Myriad Web Pro</vt:lpstr>
      <vt:lpstr>Open Sans</vt:lpstr>
      <vt:lpstr>Wingdings</vt:lpstr>
      <vt:lpstr>1_Office Theme</vt:lpstr>
      <vt:lpstr>6_Master</vt:lpstr>
      <vt:lpstr>3_NCIRD-2016-9b</vt:lpstr>
      <vt:lpstr>NCIRD-2016-9b</vt:lpstr>
      <vt:lpstr>7_Master</vt:lpstr>
      <vt:lpstr>Office Theme</vt:lpstr>
      <vt:lpstr>think-cell Slide</vt:lpstr>
      <vt:lpstr>Job Corps Center Physician Monthly Teleconference</vt:lpstr>
      <vt:lpstr>PowerPoint Presentation</vt:lpstr>
      <vt:lpstr>Congratulations and thank you!</vt:lpstr>
      <vt:lpstr>PIN 22-17 Updates (Errata Sheet) - Clarification</vt:lpstr>
      <vt:lpstr>Frequently asked questions </vt:lpstr>
      <vt:lpstr>COVID-19 Antigen test supplies: </vt:lpstr>
      <vt:lpstr>PowerPoint Presentation</vt:lpstr>
      <vt:lpstr>Influenza: Key Points</vt:lpstr>
      <vt:lpstr>PowerPoint Presentation</vt:lpstr>
      <vt:lpstr>Psilocybin mushrooms</vt:lpstr>
      <vt:lpstr>PowerPoint Presentation</vt:lpstr>
      <vt:lpstr>Age-Adjusted Suicide Rates, by Method of Suicide   National Vital Statistics System, United States, 2001–2021</vt:lpstr>
      <vt:lpstr>Hepatitis A mortality in community outbreaks</vt:lpstr>
      <vt:lpstr>PowerPoint Presentation</vt:lpstr>
      <vt:lpstr>Syndrome of the Month</vt:lpstr>
      <vt:lpstr>Turner syndrome</vt:lpstr>
      <vt:lpstr>PowerPoint Presentation</vt:lpstr>
      <vt:lpstr>PowerPoint Presentation</vt:lpstr>
      <vt:lpstr>Diagnostic evaluation</vt:lpstr>
      <vt:lpstr>Management</vt:lpstr>
      <vt:lpstr>Open Forum</vt:lpstr>
      <vt:lpstr>            Job Corps Center Physician Monthly Teleconference  Next call: Wednesday, November 29th, 2023 No December cal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b Corps Center Physicians Monthly Teleconference</dc:title>
  <dc:creator>Sara Mackenzie</dc:creator>
  <cp:lastModifiedBy>Carolina Valdenegro</cp:lastModifiedBy>
  <cp:revision>557</cp:revision>
  <dcterms:created xsi:type="dcterms:W3CDTF">2021-01-27T15:35:33Z</dcterms:created>
  <dcterms:modified xsi:type="dcterms:W3CDTF">2024-02-28T19:1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1BBDD672BAB240AE25E8C18386348A</vt:lpwstr>
  </property>
  <property fmtid="{D5CDD505-2E9C-101B-9397-08002B2CF9AE}" pid="3" name="_dlc_DocIdItemGuid">
    <vt:lpwstr>a42942ac-ae0c-4dea-a328-c7f774df7391</vt:lpwstr>
  </property>
</Properties>
</file>